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</p:sldMasterIdLst>
  <p:notesMasterIdLst>
    <p:notesMasterId r:id="rId10"/>
  </p:notesMasterIdLst>
  <p:sldIdLst>
    <p:sldId id="315" r:id="rId2"/>
    <p:sldId id="313" r:id="rId3"/>
    <p:sldId id="316" r:id="rId4"/>
    <p:sldId id="317" r:id="rId5"/>
    <p:sldId id="318" r:id="rId6"/>
    <p:sldId id="319" r:id="rId7"/>
    <p:sldId id="320" r:id="rId8"/>
    <p:sldId id="321" r:id="rId9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18" userDrawn="1">
          <p15:clr>
            <a:srgbClr val="A4A3A4"/>
          </p15:clr>
        </p15:guide>
        <p15:guide id="2" pos="16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7B6"/>
    <a:srgbClr val="E7E6E6"/>
    <a:srgbClr val="595959"/>
    <a:srgbClr val="9B9D9D"/>
    <a:srgbClr val="9E9F9F"/>
    <a:srgbClr val="6E6E6E"/>
    <a:srgbClr val="759FCC"/>
    <a:srgbClr val="F17E00"/>
    <a:srgbClr val="898989"/>
    <a:srgbClr val="8E8E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60" autoAdjust="0"/>
    <p:restoredTop sz="96048" autoAdjust="0"/>
  </p:normalViewPr>
  <p:slideViewPr>
    <p:cSldViewPr snapToGrid="0">
      <p:cViewPr varScale="1">
        <p:scale>
          <a:sx n="106" d="100"/>
          <a:sy n="106" d="100"/>
        </p:scale>
        <p:origin x="912" y="90"/>
      </p:cViewPr>
      <p:guideLst>
        <p:guide orient="horz" pos="2818"/>
        <p:guide pos="1663"/>
      </p:guideLst>
    </p:cSldViewPr>
  </p:slideViewPr>
  <p:notesTextViewPr>
    <p:cViewPr>
      <p:scale>
        <a:sx n="75" d="100"/>
        <a:sy n="75" d="100"/>
      </p:scale>
      <p:origin x="0" y="0"/>
    </p:cViewPr>
  </p:notesTextViewPr>
  <p:notesViewPr>
    <p:cSldViewPr snapToGrid="0">
      <p:cViewPr varScale="1">
        <p:scale>
          <a:sx n="79" d="100"/>
          <a:sy n="79" d="100"/>
        </p:scale>
        <p:origin x="216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4D9883-0807-4005-9F68-7E64826AB418}" type="datetimeFigureOut">
              <a:rPr lang="ru-RU" smtClean="0"/>
              <a:t>16.1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4" y="4777615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24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6C3879-601A-4437-8C17-4A2CECBF46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192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79884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030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6348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5688" y="6453064"/>
            <a:ext cx="7153216" cy="15549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1862984" y="6669360"/>
            <a:ext cx="271066" cy="158654"/>
          </a:xfrm>
          <a:ln/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0D029BF2-24B2-48BC-B71B-DE3A65B5FA4D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>
                <a:solidFill>
                  <a:srgbClr val="000000"/>
                </a:solidFill>
              </a:rPr>
              <a:t> 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4241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536601" y="60187"/>
            <a:ext cx="56554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НЦЕПЦИЯ СТРАТЕГИИ РАЗВИТИЯ</a:t>
            </a:r>
            <a:r>
              <a:rPr lang="en-U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АНКА «КУБ» (АО) НА 2019-2021гг.</a:t>
            </a: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01142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33245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8948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837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212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3614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397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78492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8547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4673600"/>
            <a:ext cx="12192000" cy="2184399"/>
          </a:xfrm>
          <a:prstGeom prst="rect">
            <a:avLst/>
          </a:prstGeom>
          <a:solidFill>
            <a:srgbClr val="0057B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304817" y="6417547"/>
            <a:ext cx="1887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www.creditural.ru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54BE97-19FA-45BB-8A0C-D870D4D87A13}"/>
              </a:ext>
            </a:extLst>
          </p:cNvPr>
          <p:cNvSpPr txBox="1"/>
          <p:nvPr/>
        </p:nvSpPr>
        <p:spPr>
          <a:xfrm>
            <a:off x="3503614" y="2373134"/>
            <a:ext cx="516059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хкомнатная  квартира</a:t>
            </a:r>
          </a:p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Магнитогорск, </a:t>
            </a:r>
          </a:p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. Панькова, дом 13,  квартира 8</a:t>
            </a:r>
          </a:p>
          <a:p>
            <a:pPr algn="ctr"/>
            <a:endParaRPr lang="ru-RU" sz="2800" b="1" dirty="0">
              <a:solidFill>
                <a:srgbClr val="0057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7" y="256890"/>
            <a:ext cx="2262426" cy="56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2723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2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graphicFrame>
        <p:nvGraphicFramePr>
          <p:cNvPr id="28" name="Таблица 27">
            <a:extLst>
              <a:ext uri="{FF2B5EF4-FFF2-40B4-BE49-F238E27FC236}">
                <a16:creationId xmlns:a16="http://schemas.microsoft.com/office/drawing/2014/main" id="{F0922BC8-F77D-4B3F-9E34-086E1F0CE2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4090850"/>
              </p:ext>
            </p:extLst>
          </p:nvPr>
        </p:nvGraphicFramePr>
        <p:xfrm>
          <a:off x="283996" y="1399287"/>
          <a:ext cx="11578987" cy="2923547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8562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227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440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ощадь: общая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,2 кв. м</a:t>
                      </a:r>
                      <a:r>
                        <a:rPr lang="ru-RU" sz="1000" baseline="30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00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рес (местоположение)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сия, г. Магнитогорск</a:t>
                      </a:r>
                      <a:r>
                        <a:rPr lang="ru-RU" alt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ул. Панькова, д. 13, </a:t>
                      </a:r>
                      <a:r>
                        <a:rPr lang="ru-RU" altLang="ru-RU" sz="1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в. 8</a:t>
                      </a:r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п</a:t>
                      </a:r>
                      <a:r>
                        <a:rPr lang="ru-RU" sz="1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дания</a:t>
                      </a:r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ногоквартирный дом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аж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ущее использование  </a:t>
                      </a:r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илое</a:t>
                      </a:r>
                      <a:r>
                        <a:rPr lang="ru-RU" sz="1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мещение</a:t>
                      </a:r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териал</a:t>
                      </a:r>
                      <a:r>
                        <a:rPr lang="ru-RU" sz="1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ерекрытий</a:t>
                      </a:r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лезобетонные плиты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ужные стены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ирпич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ндамент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Железобетонный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земная этажность</a:t>
                      </a:r>
                      <a:r>
                        <a:rPr lang="ru-RU" sz="1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440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</a:t>
                      </a:r>
                      <a:r>
                        <a:rPr lang="ru-RU" sz="1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тделки</a:t>
                      </a:r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ебует</a:t>
                      </a:r>
                      <a:r>
                        <a:rPr lang="ru-RU" sz="1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я  ремонт</a:t>
                      </a:r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92525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кна</a:t>
                      </a: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стиковые</a:t>
                      </a: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8702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ое обеспечение</a:t>
                      </a:r>
                      <a:r>
                        <a:rPr lang="ru-RU" sz="1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r>
                        <a:rPr lang="ru-RU" sz="1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нализация,  холодное   водоснабжение, электроснабжение, отопление, газ  (централизованное), горячее водоснабжение от отопительного газового котла.</a:t>
                      </a:r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7120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3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4D8A4E6-809E-4186-9AAA-7C8B8A5D6B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548" b="4227"/>
          <a:stretch/>
        </p:blipFill>
        <p:spPr>
          <a:xfrm>
            <a:off x="1305848" y="1330859"/>
            <a:ext cx="9580303" cy="491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921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4">
            <a:extLst>
              <a:ext uri="{FF2B5EF4-FFF2-40B4-BE49-F238E27FC236}">
                <a16:creationId xmlns:a16="http://schemas.microsoft.com/office/drawing/2014/main" id="{ADA74C34-C85A-4089-A00A-D416F16158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687" y="5748771"/>
            <a:ext cx="4670095" cy="707655"/>
          </a:xfrm>
          <a:prstGeom prst="homePlate">
            <a:avLst>
              <a:gd name="adj" fmla="val 0"/>
            </a:avLst>
          </a:prstGeom>
          <a:solidFill>
            <a:srgbClr val="E7E6E6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tIns="11664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600" b="1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A1B4AEC-0294-40A8-AC1D-AE93E2EB3B98}"/>
              </a:ext>
            </a:extLst>
          </p:cNvPr>
          <p:cNvSpPr/>
          <p:nvPr/>
        </p:nvSpPr>
        <p:spPr>
          <a:xfrm>
            <a:off x="407408" y="5748771"/>
            <a:ext cx="56274" cy="707655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4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7181F0B-709F-49AD-9EB1-FB9C51521F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573" y="1167181"/>
            <a:ext cx="3763367" cy="436448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46D8424-356C-401F-94A4-6E28B45F4B7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2068" y="1167181"/>
            <a:ext cx="3841411" cy="4364486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1D419105-1CF0-4D48-B4D4-4AE7ECE9817E}"/>
              </a:ext>
            </a:extLst>
          </p:cNvPr>
          <p:cNvSpPr/>
          <p:nvPr/>
        </p:nvSpPr>
        <p:spPr>
          <a:xfrm>
            <a:off x="667179" y="5810210"/>
            <a:ext cx="426311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600" b="1" dirty="0">
                <a:solidFill>
                  <a:srgbClr val="0057B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ногоквартирный дом расположен  </a:t>
            </a:r>
          </a:p>
          <a:p>
            <a:pPr>
              <a:spcAft>
                <a:spcPts val="0"/>
              </a:spcAft>
            </a:pPr>
            <a:r>
              <a:rPr lang="ru-RU" sz="1600" b="1" dirty="0">
                <a:solidFill>
                  <a:srgbClr val="0057B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Ленинском районе г. Магнитогорска</a:t>
            </a:r>
          </a:p>
        </p:txBody>
      </p:sp>
      <p:sp>
        <p:nvSpPr>
          <p:cNvPr id="13" name="AutoShape 4">
            <a:extLst>
              <a:ext uri="{FF2B5EF4-FFF2-40B4-BE49-F238E27FC236}">
                <a16:creationId xmlns:a16="http://schemas.microsoft.com/office/drawing/2014/main" id="{1B440AE0-7438-460A-9204-FF84B103D0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5092" y="5748771"/>
            <a:ext cx="6463203" cy="875384"/>
          </a:xfrm>
          <a:prstGeom prst="homePlate">
            <a:avLst>
              <a:gd name="adj" fmla="val 0"/>
            </a:avLst>
          </a:prstGeom>
          <a:solidFill>
            <a:srgbClr val="E7E6E6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tIns="11664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600" b="1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07109054-119C-4BA7-952C-74E35BA52699}"/>
              </a:ext>
            </a:extLst>
          </p:cNvPr>
          <p:cNvSpPr/>
          <p:nvPr/>
        </p:nvSpPr>
        <p:spPr>
          <a:xfrm>
            <a:off x="5598813" y="5748771"/>
            <a:ext cx="56274" cy="8753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17B9EDF5-8C10-450F-A111-2AAC0B0075F0}"/>
              </a:ext>
            </a:extLst>
          </p:cNvPr>
          <p:cNvSpPr/>
          <p:nvPr/>
        </p:nvSpPr>
        <p:spPr>
          <a:xfrm>
            <a:off x="5731833" y="5765246"/>
            <a:ext cx="656987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600" b="1" dirty="0">
                <a:solidFill>
                  <a:srgbClr val="0057B6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лагоустроенная территория, обеспеченная учреждениями дошкольного воспитания, образования, торговли, автостоянкой и другими объектами социальной сферы</a:t>
            </a:r>
          </a:p>
        </p:txBody>
      </p:sp>
    </p:spTree>
    <p:extLst>
      <p:ext uri="{BB962C8B-B14F-4D97-AF65-F5344CB8AC3E}">
        <p14:creationId xmlns:p14="http://schemas.microsoft.com/office/powerpoint/2010/main" val="2577447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5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E775AAD-CB22-4D11-BBA2-F6A645DC30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573" y="1104777"/>
            <a:ext cx="4432858" cy="5426008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759305A7-BC3B-45D6-BB0D-2042D44AF9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9204" y="1104777"/>
            <a:ext cx="3933356" cy="5424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8671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6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BAC4573-8B43-4299-B839-7D401855B33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2376" y="1068224"/>
            <a:ext cx="4105093" cy="536407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D001630-501E-4392-8BD2-E42739BDD6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533" y="1068224"/>
            <a:ext cx="4003394" cy="5364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4948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7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E34F01D-0AD3-40E4-88FA-A9441F9066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2305" y="1057642"/>
            <a:ext cx="3398415" cy="532067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F82CE3C-FDD2-40CB-A6DA-E658631FFF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178" y="1057642"/>
            <a:ext cx="4798916" cy="5320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715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8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18AE5EB-5E26-409D-9F47-B2E48845ED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5604" y="1052858"/>
            <a:ext cx="3879293" cy="545472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277D42E-6F01-4969-8615-B9F594B696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7117" y="1052858"/>
            <a:ext cx="3888073" cy="545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562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6XQsEryEGR5qw8UBcS6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89</TotalTime>
  <Words>133</Words>
  <Application>Microsoft Office PowerPoint</Application>
  <PresentationFormat>Широкоэкранный</PresentationFormat>
  <Paragraphs>38</Paragraphs>
  <Slides>8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Arial</vt:lpstr>
      <vt:lpstr>Arial Narrow</vt:lpstr>
      <vt:lpstr>Calibri</vt:lpstr>
      <vt:lpstr>Calibri Light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емыкина Наталья Сергеевна</dc:creator>
  <cp:lastModifiedBy>Комарова Ксения Олеговна</cp:lastModifiedBy>
  <cp:revision>1011</cp:revision>
  <cp:lastPrinted>2018-11-28T04:22:12Z</cp:lastPrinted>
  <dcterms:created xsi:type="dcterms:W3CDTF">2018-08-31T10:58:07Z</dcterms:created>
  <dcterms:modified xsi:type="dcterms:W3CDTF">2024-12-16T04:22:12Z</dcterms:modified>
</cp:coreProperties>
</file>